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92C61-5245-5835-0AAC-B213B814C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45E2BB4-92A3-F821-A731-7CD75BEA6F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5E2BB4-92A3-F821-A731-7CD75BEA6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CD9D1A-E7D4-2B00-E599-D65E4C04D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D4A5D-899E-BE8B-FCC0-A8A9BCB46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5ABD01-0720-9BE2-3B03-EFC023CD7462}"/>
              </a:ext>
            </a:extLst>
          </p:cNvPr>
          <p:cNvSpPr>
            <a:spLocks/>
          </p:cNvSpPr>
          <p:nvPr/>
        </p:nvSpPr>
        <p:spPr>
          <a:xfrm>
            <a:off x="4779658" y="1399548"/>
            <a:ext cx="2537409" cy="1546502"/>
          </a:xfrm>
          <a:custGeom>
            <a:avLst/>
            <a:gdLst>
              <a:gd name="connsiteX0" fmla="*/ 1203579 w 2537409"/>
              <a:gd name="connsiteY0" fmla="*/ 0 h 1546502"/>
              <a:gd name="connsiteX1" fmla="*/ 2464109 w 2537409"/>
              <a:gd name="connsiteY1" fmla="*/ 385315 h 1546502"/>
              <a:gd name="connsiteX2" fmla="*/ 2537409 w 2537409"/>
              <a:gd name="connsiteY2" fmla="*/ 440167 h 1546502"/>
              <a:gd name="connsiteX3" fmla="*/ 1773854 w 2537409"/>
              <a:gd name="connsiteY3" fmla="*/ 1546502 h 1546502"/>
              <a:gd name="connsiteX4" fmla="*/ 1714656 w 2537409"/>
              <a:gd name="connsiteY4" fmla="*/ 1497625 h 1546502"/>
              <a:gd name="connsiteX5" fmla="*/ 1203579 w 2537409"/>
              <a:gd name="connsiteY5" fmla="*/ 1341400 h 1546502"/>
              <a:gd name="connsiteX6" fmla="*/ 767869 w 2537409"/>
              <a:gd name="connsiteY6" fmla="*/ 1451805 h 1546502"/>
              <a:gd name="connsiteX7" fmla="*/ 723205 w 2537409"/>
              <a:gd name="connsiteY7" fmla="*/ 1478959 h 1546502"/>
              <a:gd name="connsiteX8" fmla="*/ 0 w 2537409"/>
              <a:gd name="connsiteY8" fmla="*/ 350692 h 1546502"/>
              <a:gd name="connsiteX9" fmla="*/ 128936 w 2537409"/>
              <a:gd name="connsiteY9" fmla="*/ 272305 h 1546502"/>
              <a:gd name="connsiteX10" fmla="*/ 1203579 w 2537409"/>
              <a:gd name="connsiteY10" fmla="*/ 0 h 154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409" h="1546502">
                <a:moveTo>
                  <a:pt x="1203579" y="0"/>
                </a:moveTo>
                <a:cubicBezTo>
                  <a:pt x="1670508" y="0"/>
                  <a:pt x="2104283" y="142047"/>
                  <a:pt x="2464109" y="385315"/>
                </a:cubicBezTo>
                <a:lnTo>
                  <a:pt x="2537409" y="440167"/>
                </a:lnTo>
                <a:lnTo>
                  <a:pt x="1773854" y="1546502"/>
                </a:lnTo>
                <a:lnTo>
                  <a:pt x="1714656" y="1497625"/>
                </a:lnTo>
                <a:cubicBezTo>
                  <a:pt x="1568767" y="1398993"/>
                  <a:pt x="1392894" y="1341400"/>
                  <a:pt x="1203579" y="1341400"/>
                </a:cubicBezTo>
                <a:cubicBezTo>
                  <a:pt x="1045817" y="1341400"/>
                  <a:pt x="897389" y="1381395"/>
                  <a:pt x="767869" y="1451805"/>
                </a:cubicBezTo>
                <a:lnTo>
                  <a:pt x="723205" y="1478959"/>
                </a:lnTo>
                <a:lnTo>
                  <a:pt x="0" y="350692"/>
                </a:lnTo>
                <a:lnTo>
                  <a:pt x="128936" y="272305"/>
                </a:lnTo>
                <a:cubicBezTo>
                  <a:pt x="448388" y="98644"/>
                  <a:pt x="814472" y="0"/>
                  <a:pt x="1203579" y="0"/>
                </a:cubicBez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258287-394B-3EF2-4FD3-7C2D059D70CF}"/>
              </a:ext>
            </a:extLst>
          </p:cNvPr>
          <p:cNvSpPr>
            <a:spLocks/>
          </p:cNvSpPr>
          <p:nvPr/>
        </p:nvSpPr>
        <p:spPr>
          <a:xfrm>
            <a:off x="3728705" y="1758786"/>
            <a:ext cx="1760100" cy="1942214"/>
          </a:xfrm>
          <a:custGeom>
            <a:avLst/>
            <a:gdLst>
              <a:gd name="connsiteX0" fmla="*/ 1036895 w 1760100"/>
              <a:gd name="connsiteY0" fmla="*/ 0 h 1942214"/>
              <a:gd name="connsiteX1" fmla="*/ 1760100 w 1760100"/>
              <a:gd name="connsiteY1" fmla="*/ 1128267 h 1942214"/>
              <a:gd name="connsiteX2" fmla="*/ 1743454 w 1760100"/>
              <a:gd name="connsiteY2" fmla="*/ 1138387 h 1942214"/>
              <a:gd name="connsiteX3" fmla="*/ 1340439 w 1760100"/>
              <a:gd name="connsiteY3" fmla="*/ 1896910 h 1942214"/>
              <a:gd name="connsiteX4" fmla="*/ 1342725 w 1760100"/>
              <a:gd name="connsiteY4" fmla="*/ 1942214 h 1942214"/>
              <a:gd name="connsiteX5" fmla="*/ 2286 w 1760100"/>
              <a:gd name="connsiteY5" fmla="*/ 1942214 h 1942214"/>
              <a:gd name="connsiteX6" fmla="*/ 0 w 1760100"/>
              <a:gd name="connsiteY6" fmla="*/ 1896910 h 1942214"/>
              <a:gd name="connsiteX7" fmla="*/ 994001 w 1760100"/>
              <a:gd name="connsiteY7" fmla="*/ 26077 h 1942214"/>
              <a:gd name="connsiteX8" fmla="*/ 1036895 w 1760100"/>
              <a:gd name="connsiteY8" fmla="*/ 0 h 194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60100" h="1942214">
                <a:moveTo>
                  <a:pt x="1036895" y="0"/>
                </a:moveTo>
                <a:lnTo>
                  <a:pt x="1760100" y="1128267"/>
                </a:lnTo>
                <a:lnTo>
                  <a:pt x="1743454" y="1138387"/>
                </a:lnTo>
                <a:cubicBezTo>
                  <a:pt x="1500304" y="1302774"/>
                  <a:pt x="1340439" y="1581160"/>
                  <a:pt x="1340439" y="1896910"/>
                </a:cubicBezTo>
                <a:lnTo>
                  <a:pt x="1342725" y="1942214"/>
                </a:lnTo>
                <a:lnTo>
                  <a:pt x="2286" y="1942214"/>
                </a:lnTo>
                <a:lnTo>
                  <a:pt x="0" y="1896910"/>
                </a:lnTo>
                <a:cubicBezTo>
                  <a:pt x="0" y="1118138"/>
                  <a:pt x="394292" y="431523"/>
                  <a:pt x="994001" y="26077"/>
                </a:cubicBezTo>
                <a:lnTo>
                  <a:pt x="1036895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99DAF1E-EEBB-FCE6-036A-577C381E61D0}"/>
              </a:ext>
            </a:extLst>
          </p:cNvPr>
          <p:cNvSpPr>
            <a:spLocks/>
          </p:cNvSpPr>
          <p:nvPr/>
        </p:nvSpPr>
        <p:spPr>
          <a:xfrm>
            <a:off x="6566241" y="1849576"/>
            <a:ext cx="1671527" cy="1851424"/>
          </a:xfrm>
          <a:custGeom>
            <a:avLst/>
            <a:gdLst>
              <a:gd name="connsiteX0" fmla="*/ 764004 w 1671527"/>
              <a:gd name="connsiteY0" fmla="*/ 0 h 1851424"/>
              <a:gd name="connsiteX1" fmla="*/ 851087 w 1671527"/>
              <a:gd name="connsiteY1" fmla="*/ 65167 h 1851424"/>
              <a:gd name="connsiteX2" fmla="*/ 1671527 w 1671527"/>
              <a:gd name="connsiteY2" fmla="*/ 1806120 h 1851424"/>
              <a:gd name="connsiteX3" fmla="*/ 1669241 w 1671527"/>
              <a:gd name="connsiteY3" fmla="*/ 1851424 h 1851424"/>
              <a:gd name="connsiteX4" fmla="*/ 328802 w 1671527"/>
              <a:gd name="connsiteY4" fmla="*/ 1851424 h 1851424"/>
              <a:gd name="connsiteX5" fmla="*/ 331088 w 1671527"/>
              <a:gd name="connsiteY5" fmla="*/ 1806120 h 1851424"/>
              <a:gd name="connsiteX6" fmla="*/ 63357 w 1671527"/>
              <a:gd name="connsiteY6" fmla="*/ 1159296 h 1851424"/>
              <a:gd name="connsiteX7" fmla="*/ 0 w 1671527"/>
              <a:gd name="connsiteY7" fmla="*/ 1106984 h 1851424"/>
              <a:gd name="connsiteX8" fmla="*/ 764004 w 1671527"/>
              <a:gd name="connsiteY8" fmla="*/ 0 h 1851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27" h="1851424">
                <a:moveTo>
                  <a:pt x="764004" y="0"/>
                </a:moveTo>
                <a:lnTo>
                  <a:pt x="851087" y="65167"/>
                </a:lnTo>
                <a:cubicBezTo>
                  <a:pt x="1352151" y="478977"/>
                  <a:pt x="1671527" y="1105225"/>
                  <a:pt x="1671527" y="1806120"/>
                </a:cubicBezTo>
                <a:lnTo>
                  <a:pt x="1669241" y="1851424"/>
                </a:lnTo>
                <a:lnTo>
                  <a:pt x="328802" y="1851424"/>
                </a:lnTo>
                <a:lnTo>
                  <a:pt x="331088" y="1806120"/>
                </a:lnTo>
                <a:cubicBezTo>
                  <a:pt x="331088" y="1553520"/>
                  <a:pt x="228775" y="1324833"/>
                  <a:pt x="63357" y="1159296"/>
                </a:cubicBezTo>
                <a:lnTo>
                  <a:pt x="0" y="1106984"/>
                </a:lnTo>
                <a:lnTo>
                  <a:pt x="764004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4F95F5E-1E6A-1625-8E99-1D97912C653F}"/>
              </a:ext>
            </a:extLst>
          </p:cNvPr>
          <p:cNvSpPr>
            <a:spLocks/>
          </p:cNvSpPr>
          <p:nvPr/>
        </p:nvSpPr>
        <p:spPr>
          <a:xfrm>
            <a:off x="3731822" y="3717447"/>
            <a:ext cx="1788289" cy="1830429"/>
          </a:xfrm>
          <a:custGeom>
            <a:avLst/>
            <a:gdLst>
              <a:gd name="connsiteX0" fmla="*/ 0 w 1788289"/>
              <a:gd name="connsiteY0" fmla="*/ 0 h 1830429"/>
              <a:gd name="connsiteX1" fmla="*/ 1340439 w 1788289"/>
              <a:gd name="connsiteY1" fmla="*/ 0 h 1830429"/>
              <a:gd name="connsiteX2" fmla="*/ 1342042 w 1788289"/>
              <a:gd name="connsiteY2" fmla="*/ 31778 h 1830429"/>
              <a:gd name="connsiteX3" fmla="*/ 1740338 w 1788289"/>
              <a:gd name="connsiteY3" fmla="*/ 696773 h 1830429"/>
              <a:gd name="connsiteX4" fmla="*/ 1788289 w 1788289"/>
              <a:gd name="connsiteY4" fmla="*/ 725925 h 1830429"/>
              <a:gd name="connsiteX5" fmla="*/ 1025997 w 1788289"/>
              <a:gd name="connsiteY5" fmla="*/ 1830429 h 1830429"/>
              <a:gd name="connsiteX6" fmla="*/ 990885 w 1788289"/>
              <a:gd name="connsiteY6" fmla="*/ 1809083 h 1830429"/>
              <a:gd name="connsiteX7" fmla="*/ 8524 w 1788289"/>
              <a:gd name="connsiteY7" fmla="*/ 168928 h 1830429"/>
              <a:gd name="connsiteX8" fmla="*/ 0 w 1788289"/>
              <a:gd name="connsiteY8" fmla="*/ 0 h 183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8289" h="1830429">
                <a:moveTo>
                  <a:pt x="0" y="0"/>
                </a:moveTo>
                <a:lnTo>
                  <a:pt x="1340439" y="0"/>
                </a:lnTo>
                <a:lnTo>
                  <a:pt x="1342042" y="31778"/>
                </a:lnTo>
                <a:cubicBezTo>
                  <a:pt x="1370129" y="308538"/>
                  <a:pt x="1521503" y="548825"/>
                  <a:pt x="1740338" y="696773"/>
                </a:cubicBezTo>
                <a:lnTo>
                  <a:pt x="1788289" y="725925"/>
                </a:lnTo>
                <a:lnTo>
                  <a:pt x="1025997" y="1830429"/>
                </a:lnTo>
                <a:lnTo>
                  <a:pt x="990885" y="1809083"/>
                </a:lnTo>
                <a:cubicBezTo>
                  <a:pt x="451147" y="1444182"/>
                  <a:pt x="77797" y="851534"/>
                  <a:pt x="8524" y="168928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0733435-8011-DC0F-0F69-0D518F33C6BF}"/>
              </a:ext>
            </a:extLst>
          </p:cNvPr>
          <p:cNvSpPr>
            <a:spLocks/>
          </p:cNvSpPr>
          <p:nvPr/>
        </p:nvSpPr>
        <p:spPr>
          <a:xfrm>
            <a:off x="6489221" y="3717447"/>
            <a:ext cx="1745431" cy="1828137"/>
          </a:xfrm>
          <a:custGeom>
            <a:avLst/>
            <a:gdLst>
              <a:gd name="connsiteX0" fmla="*/ 404993 w 1745431"/>
              <a:gd name="connsiteY0" fmla="*/ 0 h 1828137"/>
              <a:gd name="connsiteX1" fmla="*/ 1745431 w 1745431"/>
              <a:gd name="connsiteY1" fmla="*/ 0 h 1828137"/>
              <a:gd name="connsiteX2" fmla="*/ 1736907 w 1745431"/>
              <a:gd name="connsiteY2" fmla="*/ 168928 h 1828137"/>
              <a:gd name="connsiteX3" fmla="*/ 754546 w 1745431"/>
              <a:gd name="connsiteY3" fmla="*/ 1809083 h 1828137"/>
              <a:gd name="connsiteX4" fmla="*/ 723205 w 1745431"/>
              <a:gd name="connsiteY4" fmla="*/ 1828137 h 1828137"/>
              <a:gd name="connsiteX5" fmla="*/ 0 w 1745431"/>
              <a:gd name="connsiteY5" fmla="*/ 699870 h 1828137"/>
              <a:gd name="connsiteX6" fmla="*/ 5093 w 1745431"/>
              <a:gd name="connsiteY6" fmla="*/ 696773 h 1828137"/>
              <a:gd name="connsiteX7" fmla="*/ 403389 w 1745431"/>
              <a:gd name="connsiteY7" fmla="*/ 31778 h 1828137"/>
              <a:gd name="connsiteX8" fmla="*/ 404993 w 1745431"/>
              <a:gd name="connsiteY8" fmla="*/ 0 h 182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5431" h="1828137">
                <a:moveTo>
                  <a:pt x="404993" y="0"/>
                </a:moveTo>
                <a:lnTo>
                  <a:pt x="1745431" y="0"/>
                </a:lnTo>
                <a:lnTo>
                  <a:pt x="1736907" y="168928"/>
                </a:lnTo>
                <a:cubicBezTo>
                  <a:pt x="1667635" y="851534"/>
                  <a:pt x="1294284" y="1444182"/>
                  <a:pt x="754546" y="1809083"/>
                </a:cubicBezTo>
                <a:lnTo>
                  <a:pt x="723205" y="1828137"/>
                </a:lnTo>
                <a:lnTo>
                  <a:pt x="0" y="699870"/>
                </a:lnTo>
                <a:lnTo>
                  <a:pt x="5093" y="696773"/>
                </a:lnTo>
                <a:cubicBezTo>
                  <a:pt x="223929" y="548825"/>
                  <a:pt x="375303" y="308538"/>
                  <a:pt x="403389" y="31778"/>
                </a:cubicBezTo>
                <a:lnTo>
                  <a:pt x="404993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D8815AC-F74B-31EF-52C7-B9E5AF07BC62}"/>
              </a:ext>
            </a:extLst>
          </p:cNvPr>
          <p:cNvSpPr>
            <a:spLocks/>
          </p:cNvSpPr>
          <p:nvPr/>
        </p:nvSpPr>
        <p:spPr>
          <a:xfrm>
            <a:off x="4771894" y="4425862"/>
            <a:ext cx="2426474" cy="1485982"/>
          </a:xfrm>
          <a:custGeom>
            <a:avLst/>
            <a:gdLst>
              <a:gd name="connsiteX0" fmla="*/ 1703269 w 2426474"/>
              <a:gd name="connsiteY0" fmla="*/ 0 h 1485982"/>
              <a:gd name="connsiteX1" fmla="*/ 2426474 w 2426474"/>
              <a:gd name="connsiteY1" fmla="*/ 1128267 h 1485982"/>
              <a:gd name="connsiteX2" fmla="*/ 2285985 w 2426474"/>
              <a:gd name="connsiteY2" fmla="*/ 1213677 h 1485982"/>
              <a:gd name="connsiteX3" fmla="*/ 1211342 w 2426474"/>
              <a:gd name="connsiteY3" fmla="*/ 1485982 h 1485982"/>
              <a:gd name="connsiteX4" fmla="*/ 136699 w 2426474"/>
              <a:gd name="connsiteY4" fmla="*/ 1213677 h 1485982"/>
              <a:gd name="connsiteX5" fmla="*/ 0 w 2426474"/>
              <a:gd name="connsiteY5" fmla="*/ 1130571 h 1485982"/>
              <a:gd name="connsiteX6" fmla="*/ 762292 w 2426474"/>
              <a:gd name="connsiteY6" fmla="*/ 26067 h 1485982"/>
              <a:gd name="connsiteX7" fmla="*/ 775632 w 2426474"/>
              <a:gd name="connsiteY7" fmla="*/ 34177 h 1485982"/>
              <a:gd name="connsiteX8" fmla="*/ 1211342 w 2426474"/>
              <a:gd name="connsiteY8" fmla="*/ 144582 h 1485982"/>
              <a:gd name="connsiteX9" fmla="*/ 1647052 w 2426474"/>
              <a:gd name="connsiteY9" fmla="*/ 34177 h 1485982"/>
              <a:gd name="connsiteX10" fmla="*/ 1703269 w 2426474"/>
              <a:gd name="connsiteY10" fmla="*/ 0 h 1485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26474" h="1485982">
                <a:moveTo>
                  <a:pt x="1703269" y="0"/>
                </a:moveTo>
                <a:lnTo>
                  <a:pt x="2426474" y="1128267"/>
                </a:lnTo>
                <a:lnTo>
                  <a:pt x="2285985" y="1213677"/>
                </a:lnTo>
                <a:cubicBezTo>
                  <a:pt x="1966534" y="1387338"/>
                  <a:pt x="1600449" y="1485982"/>
                  <a:pt x="1211342" y="1485982"/>
                </a:cubicBezTo>
                <a:cubicBezTo>
                  <a:pt x="822235" y="1485982"/>
                  <a:pt x="456151" y="1387338"/>
                  <a:pt x="136699" y="1213677"/>
                </a:cubicBezTo>
                <a:lnTo>
                  <a:pt x="0" y="1130571"/>
                </a:lnTo>
                <a:lnTo>
                  <a:pt x="762292" y="26067"/>
                </a:lnTo>
                <a:lnTo>
                  <a:pt x="775632" y="34177"/>
                </a:lnTo>
                <a:cubicBezTo>
                  <a:pt x="905152" y="104587"/>
                  <a:pt x="1053580" y="144582"/>
                  <a:pt x="1211342" y="144582"/>
                </a:cubicBezTo>
                <a:cubicBezTo>
                  <a:pt x="1369104" y="144582"/>
                  <a:pt x="1517532" y="104587"/>
                  <a:pt x="1647052" y="34177"/>
                </a:cubicBezTo>
                <a:lnTo>
                  <a:pt x="1703269" y="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E466AF5-8F2D-9F30-FA04-57A85EC2924A}"/>
              </a:ext>
            </a:extLst>
          </p:cNvPr>
          <p:cNvSpPr/>
          <p:nvPr/>
        </p:nvSpPr>
        <p:spPr>
          <a:xfrm>
            <a:off x="75136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90C268-F3F4-884B-0335-A604A36860F3}"/>
              </a:ext>
            </a:extLst>
          </p:cNvPr>
          <p:cNvSpPr/>
          <p:nvPr/>
        </p:nvSpPr>
        <p:spPr>
          <a:xfrm>
            <a:off x="745654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6AD3183-1801-87EC-94E4-DC4CA44C5C0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2C1AE78-9A43-F3ED-3CE7-1896418F88B2}"/>
              </a:ext>
            </a:extLst>
          </p:cNvPr>
          <p:cNvSpPr/>
          <p:nvPr/>
        </p:nvSpPr>
        <p:spPr>
          <a:xfrm>
            <a:off x="3475097" y="2274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A1E949E-0F66-89DA-3512-6781FFF18BBB}"/>
              </a:ext>
            </a:extLst>
          </p:cNvPr>
          <p:cNvSpPr/>
          <p:nvPr/>
        </p:nvSpPr>
        <p:spPr>
          <a:xfrm>
            <a:off x="3475097" y="42935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CB860A-94CB-2DE9-370A-530539CCD632}"/>
              </a:ext>
            </a:extLst>
          </p:cNvPr>
          <p:cNvSpPr/>
          <p:nvPr/>
        </p:nvSpPr>
        <p:spPr>
          <a:xfrm>
            <a:off x="5513447" y="5455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63321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21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2</cp:revision>
  <dcterms:created xsi:type="dcterms:W3CDTF">2021-03-31T02:49:57Z</dcterms:created>
  <dcterms:modified xsi:type="dcterms:W3CDTF">2025-10-15T03:17:21Z</dcterms:modified>
  <cp:category/>
</cp:coreProperties>
</file>